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1"/>
  </p:notesMasterIdLst>
  <p:handoutMasterIdLst>
    <p:handoutMasterId r:id="rId12"/>
  </p:handoutMasterIdLst>
  <p:sldIdLst>
    <p:sldId id="753" r:id="rId3"/>
    <p:sldId id="758" r:id="rId4"/>
    <p:sldId id="759" r:id="rId5"/>
    <p:sldId id="760" r:id="rId6"/>
    <p:sldId id="761" r:id="rId7"/>
    <p:sldId id="762" r:id="rId8"/>
    <p:sldId id="763" r:id="rId9"/>
    <p:sldId id="764" r:id="rId10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6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4" pos="7401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10" pos="1844" userDrawn="1">
          <p15:clr>
            <a:srgbClr val="A4A3A4"/>
          </p15:clr>
        </p15:guide>
        <p15:guide id="14" pos="3318" userDrawn="1">
          <p15:clr>
            <a:srgbClr val="A4A3A4"/>
          </p15:clr>
        </p15:guide>
        <p15:guide id="15" pos="4747" userDrawn="1">
          <p15:clr>
            <a:srgbClr val="A4A3A4"/>
          </p15:clr>
        </p15:guide>
        <p15:guide id="16" pos="6040" userDrawn="1">
          <p15:clr>
            <a:srgbClr val="A4A3A4"/>
          </p15:clr>
        </p15:guide>
        <p15:guide id="17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3C78"/>
    <a:srgbClr val="66CCFF"/>
    <a:srgbClr val="99FFCC"/>
    <a:srgbClr val="3BC1F1"/>
    <a:srgbClr val="4FA8DD"/>
    <a:srgbClr val="0361A5"/>
    <a:srgbClr val="499FD1"/>
    <a:srgbClr val="008AC9"/>
    <a:srgbClr val="D0E1EE"/>
    <a:srgbClr val="E1E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71" autoAdjust="0"/>
    <p:restoredTop sz="98169" autoAdjust="0"/>
  </p:normalViewPr>
  <p:slideViewPr>
    <p:cSldViewPr snapToGrid="0">
      <p:cViewPr>
        <p:scale>
          <a:sx n="98" d="100"/>
          <a:sy n="98" d="100"/>
        </p:scale>
        <p:origin x="-852" y="-462"/>
      </p:cViewPr>
      <p:guideLst>
        <p:guide orient="horz" pos="436"/>
        <p:guide orient="horz" pos="3725"/>
        <p:guide orient="horz" pos="3249"/>
        <p:guide pos="302"/>
        <p:guide pos="7401"/>
        <p:guide pos="1844"/>
        <p:guide pos="3318"/>
        <p:guide pos="4747"/>
        <p:guide pos="60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E1740E6-FAAD-458E-8F70-076CE730AACD}" type="datetimeFigureOut">
              <a:rPr lang="ru-RU" smtClean="0"/>
              <a:t>11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A9B7E29-9827-4036-968E-B9C584E752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684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11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1.10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90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=""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80EC7F88-826E-9B7F-5319-5965C5F496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11A277CD-E6E9-48AD-F017-3E18A8695E48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="" xmlns:a16="http://schemas.microsoft.com/office/drawing/2014/main" id="{7BD6D3C8-E52B-9B2B-E6F1-D260141EACD0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1040BF7E-19CE-E668-3DB5-554CEB96E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116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0D330683-699C-150D-CAD8-934C0B25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250B9D8F-1C2C-7969-1E8D-E2900A1A240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="" xmlns:a16="http://schemas.microsoft.com/office/drawing/2014/main" id="{AA9ED4E5-BF69-E730-F789-86BE14B76B66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E0B95694-54A3-FEB4-56AB-40CE1CFAD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19240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4D96B10B-D1F2-2889-7740-2A1AAD6A03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057B33E3-3D33-D94C-9DB2-07408735E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3A48931-DE1B-7B9C-7557-0D74F3271C78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5" name="Текст 1">
            <a:extLst>
              <a:ext uri="{FF2B5EF4-FFF2-40B4-BE49-F238E27FC236}">
                <a16:creationId xmlns="" xmlns:a16="http://schemas.microsoft.com/office/drawing/2014/main" id="{B1C82FB5-334E-B35D-0144-3A501DBFC69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7737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83A853A7-FC8E-C71A-CB8D-F616F642D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/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7B4933C8-2CEB-4D2E-03F0-5B19680F1C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94033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=""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E9D1F43E-D985-4D51-9B68-1D050FA79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798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=""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63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=""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7B92521F-AA6D-A25E-D94D-C731625BA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8186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=""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028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=""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783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/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761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D855EFB3-4D89-83D0-0EE6-926E4C50A7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25076575-B14E-6F73-7BC6-0A977627B687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="" xmlns:a16="http://schemas.microsoft.com/office/drawing/2014/main" id="{A7657630-173D-EF10-249D-8D4E8DBE8A8F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4095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1AAA2F3E-B21F-C481-9DFC-69FEE13447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DEDF3A6D-5968-FFE1-7CF7-D6B05FFBE6B5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="" xmlns:a16="http://schemas.microsoft.com/office/drawing/2014/main" id="{90989494-9CB2-26A3-6664-6B2BD7603293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58F29EB6-864F-3366-E844-8BD3D0D13D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A8B5986D-1161-33ED-E56B-B1B6239BA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13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C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8" r:id="rId3"/>
    <p:sldLayoutId id="2147483670" r:id="rId4"/>
    <p:sldLayoutId id="2147483666" r:id="rId5"/>
    <p:sldLayoutId id="2147483669" r:id="rId6"/>
    <p:sldLayoutId id="214748367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C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395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679" r:id="rId6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58B25BD6-3500-765E-196A-BF54821BF9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/>
        </p:blipFill>
        <p:spPr>
          <a:xfrm>
            <a:off x="-477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4937" y="6432105"/>
            <a:ext cx="117125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бы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="" xmlns:a16="http://schemas.microsoft.com/office/drawing/2014/main" id="{3F6D87B1-092F-8439-B98B-D2C4DA0737E8}"/>
              </a:ext>
            </a:extLst>
          </p:cNvPr>
          <p:cNvSpPr txBox="1">
            <a:spLocks/>
          </p:cNvSpPr>
          <p:nvPr/>
        </p:nvSpPr>
        <p:spPr>
          <a:xfrm>
            <a:off x="0" y="5834556"/>
            <a:ext cx="697367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ru-RU" sz="2000" b="1" dirty="0" smtClean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Методический день учителя русского языка</a:t>
            </a:r>
            <a:endParaRPr lang="ru-RU" sz="2000" b="1" dirty="0">
              <a:solidFill>
                <a:schemeClr val="bg1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E72057C-EE7E-C9E6-36DA-5A2A1647BC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71" b="18722"/>
          <a:stretch/>
        </p:blipFill>
        <p:spPr>
          <a:xfrm>
            <a:off x="1903923" y="718079"/>
            <a:ext cx="1913489" cy="51878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34937" y="1205687"/>
            <a:ext cx="5988442" cy="271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Октябрь </a:t>
            </a:r>
          </a:p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Проект урока русского языка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Общее </a:t>
            </a:r>
            <a:r>
              <a:rPr lang="ru-RU" sz="2800" b="1" dirty="0">
                <a:solidFill>
                  <a:schemeClr val="bg1"/>
                </a:solidFill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грамматическое значение местоимения. Синтаксические функции местоимений</a:t>
            </a: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34937" y="4683009"/>
            <a:ext cx="63110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О автора(</a:t>
            </a:r>
            <a:r>
              <a:rPr lang="ru-RU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: Леушина Елена </a:t>
            </a:r>
            <a:r>
              <a:rPr lang="ru-RU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ридовна</a:t>
            </a:r>
            <a:endParaRPr lang="ru-RU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елённый пункт:     Красноярский край, Ачинск                                                                Образовательная организация: МБОУ «Средняя школа 6»</a:t>
            </a:r>
          </a:p>
        </p:txBody>
      </p:sp>
    </p:spTree>
    <p:extLst>
      <p:ext uri="{BB962C8B-B14F-4D97-AF65-F5344CB8AC3E}">
        <p14:creationId xmlns:p14="http://schemas.microsoft.com/office/powerpoint/2010/main" val="1871797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1">
            <a:extLst>
              <a:ext uri="{FF2B5EF4-FFF2-40B4-BE49-F238E27FC236}">
                <a16:creationId xmlns="" xmlns:a16="http://schemas.microsoft.com/office/drawing/2014/main" id="{492071EF-3F58-04B8-8752-4FC0D94C91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650" y="237162"/>
            <a:ext cx="103901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Open Sans Condensed" pitchFamily="2" charset="0"/>
              </a:rPr>
              <a:t>Общие данные</a:t>
            </a:r>
            <a:endParaRPr kumimoji="0" lang="ru-RU" altLang="ru-RU" sz="2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Open Sans Condensed" pitchFamily="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74650" y="646185"/>
            <a:ext cx="11527063" cy="5733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дмет</a:t>
            </a: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русский язык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ласс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6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ма раздела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Местоимения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ма урока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 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Общее грамматическое значение местоимения. Синтаксические функции местоимений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урока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23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онимание признаков местоимения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дметные результаты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sz="2300" b="1" dirty="0">
                <a:solidFill>
                  <a:srgbClr val="1D212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2300" dirty="0">
                <a:solidFill>
                  <a:srgbClr val="1D212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Сформировать умение распознавать местоимения; </a:t>
            </a:r>
            <a:endParaRPr lang="ru-RU" sz="2300" dirty="0" smtClean="0">
              <a:latin typeface="Times New Roman" panose="02020603050405020304" pitchFamily="18" charset="0"/>
              <a:ea typeface="SchoolBookSanPin-Regular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dirty="0" smtClean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определять  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их общее грамматическое значение</a:t>
            </a:r>
            <a:endParaRPr lang="ru-RU" sz="2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3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тапредметные</a:t>
            </a:r>
            <a:r>
              <a:rPr lang="ru-RU" sz="23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результаты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 выявлять и характеризовать существенные признаки языковых единиц, устанавливать существенный признак классификации языковых единиц (явлений), основания для обобщения и сравнения, критерии проводимого анализа; классифицировать </a:t>
            </a:r>
            <a:r>
              <a:rPr lang="ru-RU" sz="2300" dirty="0" smtClean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языковые единицы 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по существенному признаку;</a:t>
            </a:r>
            <a:r>
              <a:rPr lang="ru-RU" sz="23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300" dirty="0">
                <a:latin typeface="Times New Roman" panose="02020603050405020304" pitchFamily="18" charset="0"/>
                <a:ea typeface="SchoolBookSanPin-Regular"/>
                <a:cs typeface="Times New Roman" panose="02020603050405020304" pitchFamily="18" charset="0"/>
              </a:rPr>
              <a:t>выражать себя (свою точку зрения) в диалогах и дискуссиях.</a:t>
            </a:r>
            <a:endParaRPr lang="ru-RU" sz="2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3210326"/>
              </p:ext>
            </p:extLst>
          </p:nvPr>
        </p:nvGraphicFramePr>
        <p:xfrm>
          <a:off x="388297" y="261257"/>
          <a:ext cx="11469873" cy="6200913"/>
        </p:xfrm>
        <a:graphic>
          <a:graphicData uri="http://schemas.openxmlformats.org/drawingml/2006/table">
            <a:tbl>
              <a:tblPr firstRow="1" firstCol="1" bandRow="1"/>
              <a:tblGrid>
                <a:gridCol w="7094742">
                  <a:extLst>
                    <a:ext uri="{9D8B030D-6E8A-4147-A177-3AD203B41FA5}">
                      <a16:colId xmlns="" xmlns:a16="http://schemas.microsoft.com/office/drawing/2014/main" val="3681605209"/>
                    </a:ext>
                  </a:extLst>
                </a:gridCol>
                <a:gridCol w="4375131">
                  <a:extLst>
                    <a:ext uri="{9D8B030D-6E8A-4147-A177-3AD203B41FA5}">
                      <a16:colId xmlns="" xmlns:a16="http://schemas.microsoft.com/office/drawing/2014/main" val="1105402983"/>
                    </a:ext>
                  </a:extLst>
                </a:gridCol>
              </a:tblGrid>
              <a:tr h="2400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йствия учителя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йствия учеников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06711601"/>
                  </a:ext>
                </a:extLst>
              </a:tr>
              <a:tr h="411515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i="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тивационно-целевой этап</a:t>
                      </a:r>
                      <a:endParaRPr lang="ru-RU" sz="2000" b="1" i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99019042"/>
                  </a:ext>
                </a:extLst>
              </a:tr>
              <a:tr h="4036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ветствует детей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тивирует на работу – читает загадк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з какого местоимения, если к нему прибавить сто, можно испечь пирог? (Те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е слова состоят только из местоимений? (Вымыты, вымыто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е местоимения самые чистые (Вы-мы-ты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 какое местоимение можно спрятать букву ц , чтобы получилось животное? (Я: за-я-ц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 какому местоимению нужно прибавить слог 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о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чтобы получить средство умывания? (Мы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е местоимения встречаются на русских дорогах? (Я-мы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ое местоимение читается одинаково слева направо и справа налево? (Оно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колько личных местоимений в слове семья? (7-я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гда руки бывают местоимениями? (Когда вы-мы-ты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вый слог - личное местоимение 2-го лица. Второй - звук, который издает лягушка. Вместе - название овоща. (Тыква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читель радостно приветствует каждый ответ, как верный, так и неверный. Просит объяснить появление версии ответа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случае неверного подводит к правильному ответу путем рисования на доске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ы и мотивированы на работу на уроке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гадывают загадки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рсии могут </a:t>
                      </a: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ыть </a:t>
                      </a:r>
                      <a:r>
                        <a:rPr lang="ru-RU" sz="140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нообразными 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зависимости от полета детской фантазии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80753802"/>
                  </a:ext>
                </a:extLst>
              </a:tr>
              <a:tr h="14402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водит детей к определению темы урока: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Ребята, как вы думаете, какова тема сегодняшнего урока?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Как вы считаете, о чем мы будем говорить на первом уроке знакомства с новой частью речи?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еделяют тему: так как во всех загадках говорится про местоимения, то это и будет тема урока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ильные ученики предполагают, что узнают о признаках местоимения, об их видах. Слабые ученики предполагают, что научатся их узнавать в тексте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579" marR="5257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73565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195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207973"/>
              </p:ext>
            </p:extLst>
          </p:nvPr>
        </p:nvGraphicFramePr>
        <p:xfrm>
          <a:off x="374650" y="885372"/>
          <a:ext cx="11527063" cy="5225142"/>
        </p:xfrm>
        <a:graphic>
          <a:graphicData uri="http://schemas.openxmlformats.org/drawingml/2006/table">
            <a:tbl>
              <a:tblPr firstRow="1" firstCol="1" bandRow="1"/>
              <a:tblGrid>
                <a:gridCol w="7371566">
                  <a:extLst>
                    <a:ext uri="{9D8B030D-6E8A-4147-A177-3AD203B41FA5}">
                      <a16:colId xmlns="" xmlns:a16="http://schemas.microsoft.com/office/drawing/2014/main" val="1189479264"/>
                    </a:ext>
                  </a:extLst>
                </a:gridCol>
                <a:gridCol w="4155497">
                  <a:extLst>
                    <a:ext uri="{9D8B030D-6E8A-4147-A177-3AD203B41FA5}">
                      <a16:colId xmlns="" xmlns:a16="http://schemas.microsoft.com/office/drawing/2014/main" val="249245431"/>
                    </a:ext>
                  </a:extLst>
                </a:gridCol>
              </a:tblGrid>
              <a:tr h="7039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йствия учител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254" marR="2425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Действия ученика</a:t>
                      </a:r>
                      <a:endParaRPr lang="ru-RU" sz="1800" dirty="0"/>
                    </a:p>
                  </a:txBody>
                  <a:tcPr marL="32338" marR="32338" marT="16169" marB="1616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855035990"/>
                  </a:ext>
                </a:extLst>
              </a:tr>
              <a:tr h="4521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а в парах.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лагает выполнить учебное задание: вспомните , что вам уже известно про местоимения, попробуйте сформулировать определение местоимения в виде кластера. Записать его в тетрадь.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доске схема-кластер «Местоимение-это…»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зывает к доске одну пару. Потом просит остальных дополнить, что еще удалось вспомнить. Каждый ответ просит обосновать, спрашивая: «Почему ты не согласен?», «Почему ты согласен?», «С чем ты не согласен?», «С чем ты согласен?»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результате появляется таблица «Признаки других частей речи у местоимений»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254" marR="2425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вещаются в парах. Называют разряды личных местоимений, говорят, что местоимение заменяет имя. Выходят на части речи, которые заменяет местоимение: имя прилагательное, имя числительное, имя существительное. Отсюда выводят вопросы местоимений., выясняют, какими членами предложения они могут быть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исывают на доске результаты работы. Дополняют и на доске, и в тетрадях.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водят итоги данного этапа урока.</a:t>
                      </a:r>
                      <a:endParaRPr lang="ru-RU" sz="18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endParaRPr lang="ru-RU" sz="1800" dirty="0"/>
                    </a:p>
                  </a:txBody>
                  <a:tcPr marL="32338" marR="32338" marT="16169" marB="16169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4044553025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428" y="4942706"/>
            <a:ext cx="4817069" cy="1017807"/>
          </a:xfrm>
          <a:prstGeom prst="rect">
            <a:avLst/>
          </a:prstGeom>
        </p:spPr>
      </p:pic>
      <p:sp>
        <p:nvSpPr>
          <p:cNvPr id="6" name="TextBox 1">
            <a:extLst>
              <a:ext uri="{FF2B5EF4-FFF2-40B4-BE49-F238E27FC236}">
                <a16:creationId xmlns="" xmlns:a16="http://schemas.microsoft.com/office/drawing/2014/main" id="{492071EF-3F58-04B8-8752-4FC0D94C91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650" y="237162"/>
            <a:ext cx="103901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2400" b="1" dirty="0" smtClean="0">
                <a:solidFill>
                  <a:srgbClr val="233C78"/>
                </a:solidFill>
                <a:cs typeface="Open Sans Condensed" pitchFamily="2" charset="0"/>
              </a:rPr>
              <a:t>Этап актуализации знаний</a:t>
            </a:r>
            <a:endParaRPr kumimoji="0" lang="ru-RU" altLang="ru-RU" sz="2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Open Sans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222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28961" y="123762"/>
            <a:ext cx="50965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233C78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Этап открытия нового знания</a:t>
            </a:r>
            <a:endParaRPr lang="ru-RU" sz="2800" b="1" dirty="0">
              <a:solidFill>
                <a:srgbClr val="233C78"/>
              </a:solidFill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405450"/>
              </p:ext>
            </p:extLst>
          </p:nvPr>
        </p:nvGraphicFramePr>
        <p:xfrm>
          <a:off x="478973" y="758507"/>
          <a:ext cx="11451770" cy="5903786"/>
        </p:xfrm>
        <a:graphic>
          <a:graphicData uri="http://schemas.openxmlformats.org/drawingml/2006/table">
            <a:tbl>
              <a:tblPr firstRow="1" firstCol="1" bandRow="1"/>
              <a:tblGrid>
                <a:gridCol w="3851958">
                  <a:extLst>
                    <a:ext uri="{9D8B030D-6E8A-4147-A177-3AD203B41FA5}">
                      <a16:colId xmlns="" xmlns:a16="http://schemas.microsoft.com/office/drawing/2014/main" val="1021876013"/>
                    </a:ext>
                  </a:extLst>
                </a:gridCol>
                <a:gridCol w="7599812">
                  <a:extLst>
                    <a:ext uri="{9D8B030D-6E8A-4147-A177-3AD203B41FA5}">
                      <a16:colId xmlns="" xmlns:a16="http://schemas.microsoft.com/office/drawing/2014/main" val="329103636"/>
                    </a:ext>
                  </a:extLst>
                </a:gridCol>
              </a:tblGrid>
              <a:tr h="14252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1D2125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ализ текста. Работа в малых группах (соседние парты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1D2125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адания: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>
                          <a:solidFill>
                            <a:srgbClr val="1D2125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тот текст для изучения темы «Местоимения». Как вы думаете, легко ли будет найти местоимения в тексте?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1D2125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ми могут быть  правила нахождения местоимений в тексте? Придумайте и запишите алгоритм для того, чтоб определить местоимения в тексте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356" marR="423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веты: Да, легко. Нет, трудно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Можно задать вопросы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Можно заменить другими частями реч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Можно проверить, от какого слова зависит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исывают алгоритм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356" marR="423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13992944"/>
                  </a:ext>
                </a:extLst>
              </a:tr>
              <a:tr h="406126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ствуясь вашим алгоритмом, найдите в своем отрывке местоимения и определите какими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ленами предложения они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вляются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356" marR="423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 1.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то предположительно найдут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то не увидят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как авторитетно утверждают мои родители и начальники, родилась раньше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.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авы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и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ли нет, но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наю только, что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 помню ни одного дня в моей жизни, когда бы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 принадлежал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й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не чувствовал над собой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ласти.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 покидае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ень и ночь;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тоже не выказываю поползновения удрать о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е,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— связь, стало быть, 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епка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рочная… Но не завидуйте, юная читательница!.. Эта трогательная связь не приноси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н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ичего, кроме несчастий.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 2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Во-первых, моя «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, не отступая о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ень и ночь, не дае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н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аниматься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лом.</a:t>
                      </a:r>
                      <a:r>
                        <a:rPr lang="ru-RU" sz="1200" dirty="0" err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ешае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н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читать, писать, гулять, наслаждаться природой…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ишу эти строки, а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толкае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д локоть и ежесекундно, как древняя Клеопатра не менее древнего Антония, мани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к ложу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 3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-вторых,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азоряет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ня,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как французская кокотка. За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ивязанность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жертвовал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й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м: карьерой, славой, комфортом… По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милости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хожу раздет, живу в дешевом номере, питаюсь ерундой, пишу бледными чернилами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 4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Всё, всё пожирает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ненасытная!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навижу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,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езираю… Давно бы пора развестись с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й,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о не развелся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о сих пор не потому, что московские адвокаты берут за развод четыре тысячи… Детей у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с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ка нет… Хотите знать </a:t>
                      </a: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мя? Извольте… </a:t>
                      </a:r>
                      <a:r>
                        <a:rPr lang="ru-RU" sz="12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но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этично и напоминает Лилю, Лелю, Нелли…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highlight>
                            <a:srgbClr val="FF00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овут — Лень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356" marR="4235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537290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7797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301352"/>
              </p:ext>
            </p:extLst>
          </p:nvPr>
        </p:nvGraphicFramePr>
        <p:xfrm>
          <a:off x="510195" y="1204686"/>
          <a:ext cx="11347976" cy="3677289"/>
        </p:xfrm>
        <a:graphic>
          <a:graphicData uri="http://schemas.openxmlformats.org/drawingml/2006/table">
            <a:tbl>
              <a:tblPr firstRow="1" firstCol="1" bandRow="1"/>
              <a:tblGrid>
                <a:gridCol w="5409773">
                  <a:extLst>
                    <a:ext uri="{9D8B030D-6E8A-4147-A177-3AD203B41FA5}">
                      <a16:colId xmlns="" xmlns:a16="http://schemas.microsoft.com/office/drawing/2014/main" val="1594144037"/>
                    </a:ext>
                  </a:extLst>
                </a:gridCol>
                <a:gridCol w="5938203">
                  <a:extLst>
                    <a:ext uri="{9D8B030D-6E8A-4147-A177-3AD203B41FA5}">
                      <a16:colId xmlns="" xmlns:a16="http://schemas.microsoft.com/office/drawing/2014/main" val="3964195239"/>
                    </a:ext>
                  </a:extLst>
                </a:gridCol>
              </a:tblGrid>
              <a:tr h="4085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ь учител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ь ученика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3084209"/>
                  </a:ext>
                </a:extLst>
              </a:tr>
              <a:tr h="3268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ет ключ для проверки. Просит посчитать процент выполнения работ по принципу: 100 % - полностью выполненное задание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лагает провести анализ: Проблема: почему не все местоимения увидели?</a:t>
                      </a:r>
                      <a:r>
                        <a:rPr lang="ru-RU" sz="1800" dirty="0">
                          <a:solidFill>
                            <a:srgbClr val="1D2125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е увидели формы местоимений в других падежах.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веряются с ключом. Считают, сколько процентов задания выполнено верно. Получается в разных группах по-разному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льные: не знали, к каким словам задавать вопрос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лабые: не все слова похожи на те, которые уже знаем. Удалось узнать только личные местоимения в Именительном падеже. Определяют собственные дефициты: нужно учиться изменять местоимения по падежам, чтоб узнавать падежные формы. Дополняют алгоритм информацией о падежных вопросах и начальной форме местоимений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43281625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10195" y="400512"/>
            <a:ext cx="2716256" cy="468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solidFill>
                  <a:srgbClr val="233C78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ап самоконтроля</a:t>
            </a:r>
            <a:endParaRPr lang="ru-RU" sz="2400" dirty="0">
              <a:solidFill>
                <a:srgbClr val="233C78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144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7339344"/>
              </p:ext>
            </p:extLst>
          </p:nvPr>
        </p:nvGraphicFramePr>
        <p:xfrm>
          <a:off x="609599" y="1393412"/>
          <a:ext cx="10900229" cy="3521964"/>
        </p:xfrm>
        <a:graphic>
          <a:graphicData uri="http://schemas.openxmlformats.org/drawingml/2006/table">
            <a:tbl>
              <a:tblPr firstRow="1" firstCol="1" bandRow="1"/>
              <a:tblGrid>
                <a:gridCol w="5196325">
                  <a:extLst>
                    <a:ext uri="{9D8B030D-6E8A-4147-A177-3AD203B41FA5}">
                      <a16:colId xmlns="" xmlns:a16="http://schemas.microsoft.com/office/drawing/2014/main" val="213475574"/>
                    </a:ext>
                  </a:extLst>
                </a:gridCol>
                <a:gridCol w="5703904">
                  <a:extLst>
                    <a:ext uri="{9D8B030D-6E8A-4147-A177-3AD203B41FA5}">
                      <a16:colId xmlns="" xmlns:a16="http://schemas.microsoft.com/office/drawing/2014/main" val="23009493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ь учител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ь ученика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48928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е приемы, описанные в ваших алгоритмах, помогли вам эффективно найти местоимения? Отметьте их в бланках с  алгоритмах желтым цветом. После этого прикрепите бланки на малую доску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вайте наиболее эффективные соберем вместе, получится один общий алгоритм, которым мы можем пользоваться на уроках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лаю общую сборку, записываю на большой доске.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мечают в бланках удачные ходы, прикрепляют листки на доску.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учившийся результат – общий алгоритм для работы списывают в тетрадь индивидуально каждый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93739342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97203" y="545881"/>
            <a:ext cx="5334602" cy="468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solidFill>
                  <a:srgbClr val="233C78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ап создания совместного продукта</a:t>
            </a:r>
            <a:endParaRPr lang="ru-RU" sz="2400" b="1" dirty="0">
              <a:solidFill>
                <a:srgbClr val="233C78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6224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332631" y="603937"/>
            <a:ext cx="5600572" cy="4680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2400" b="1" dirty="0">
                <a:solidFill>
                  <a:srgbClr val="233C78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ап рефлексии учебной деятельности</a:t>
            </a:r>
            <a:endParaRPr lang="ru-RU" sz="2400" b="1" dirty="0">
              <a:solidFill>
                <a:srgbClr val="233C78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4311582"/>
              </p:ext>
            </p:extLst>
          </p:nvPr>
        </p:nvGraphicFramePr>
        <p:xfrm>
          <a:off x="464457" y="1752050"/>
          <a:ext cx="10943772" cy="3952063"/>
        </p:xfrm>
        <a:graphic>
          <a:graphicData uri="http://schemas.openxmlformats.org/drawingml/2006/table">
            <a:tbl>
              <a:tblPr firstRow="1" firstCol="1" bandRow="1"/>
              <a:tblGrid>
                <a:gridCol w="5217082">
                  <a:extLst>
                    <a:ext uri="{9D8B030D-6E8A-4147-A177-3AD203B41FA5}">
                      <a16:colId xmlns="" xmlns:a16="http://schemas.microsoft.com/office/drawing/2014/main" val="1936058025"/>
                    </a:ext>
                  </a:extLst>
                </a:gridCol>
                <a:gridCol w="5726690">
                  <a:extLst>
                    <a:ext uri="{9D8B030D-6E8A-4147-A177-3AD203B41FA5}">
                      <a16:colId xmlns="" xmlns:a16="http://schemas.microsoft.com/office/drawing/2014/main" val="584082236"/>
                    </a:ext>
                  </a:extLst>
                </a:gridCol>
              </a:tblGrid>
              <a:tr h="8752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ятельность учителя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ятельность ученик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07143892"/>
                  </a:ext>
                </a:extLst>
              </a:tr>
              <a:tr h="30767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то нового сегодня узнали на уроке?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кие проблемы выявили, каким образом планируем с ними работать?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знали, что личные местоимения изменяются  в падежных формах, поэтому нужно знакомиться с их формами, вспоминая вопросы падежей.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16618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6412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059</TotalTime>
  <Words>948</Words>
  <Application>Microsoft Office PowerPoint</Application>
  <PresentationFormat>Произвольный</PresentationFormat>
  <Paragraphs>124</Paragraphs>
  <Slides>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УО г.Ачинск</cp:lastModifiedBy>
  <cp:revision>524</cp:revision>
  <cp:lastPrinted>2022-08-02T06:55:16Z</cp:lastPrinted>
  <dcterms:created xsi:type="dcterms:W3CDTF">2020-02-25T09:30:21Z</dcterms:created>
  <dcterms:modified xsi:type="dcterms:W3CDTF">2022-10-11T06:54:12Z</dcterms:modified>
</cp:coreProperties>
</file>